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xml" ContentType="application/vnd.openxmlformats-officedocument.presentationml.tags+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5"/>
  </p:notesMasterIdLst>
  <p:sldIdLst>
    <p:sldId id="256" r:id="rId2"/>
    <p:sldId id="257" r:id="rId3"/>
    <p:sldId id="258" r:id="rId4"/>
    <p:sldId id="259" r:id="rId5"/>
    <p:sldId id="260" r:id="rId6"/>
    <p:sldId id="261" r:id="rId7"/>
    <p:sldId id="264" r:id="rId8"/>
    <p:sldId id="263" r:id="rId9"/>
    <p:sldId id="265" r:id="rId10"/>
    <p:sldId id="267" r:id="rId11"/>
    <p:sldId id="276" r:id="rId12"/>
    <p:sldId id="262" r:id="rId13"/>
    <p:sldId id="268" r:id="rId14"/>
    <p:sldId id="269" r:id="rId15"/>
    <p:sldId id="277" r:id="rId16"/>
    <p:sldId id="278" r:id="rId17"/>
    <p:sldId id="280" r:id="rId18"/>
    <p:sldId id="281" r:id="rId19"/>
    <p:sldId id="285" r:id="rId20"/>
    <p:sldId id="283" r:id="rId21"/>
    <p:sldId id="286" r:id="rId22"/>
    <p:sldId id="288" r:id="rId23"/>
    <p:sldId id="284" r:id="rId24"/>
    <p:sldId id="290" r:id="rId25"/>
    <p:sldId id="289" r:id="rId26"/>
    <p:sldId id="282" r:id="rId27"/>
    <p:sldId id="291" r:id="rId28"/>
    <p:sldId id="292" r:id="rId29"/>
    <p:sldId id="271" r:id="rId30"/>
    <p:sldId id="293" r:id="rId31"/>
    <p:sldId id="294" r:id="rId32"/>
    <p:sldId id="270" r:id="rId33"/>
    <p:sldId id="273" r:id="rId3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FA68"/>
    <a:srgbClr val="080804"/>
    <a:srgbClr val="F7743C"/>
    <a:srgbClr val="448B91"/>
    <a:srgbClr val="C2F918"/>
    <a:srgbClr val="CFFB43"/>
    <a:srgbClr val="073315"/>
    <a:srgbClr val="DDC855"/>
    <a:srgbClr val="4E9191"/>
    <a:srgbClr val="E1FF6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48" autoAdjust="0"/>
    <p:restoredTop sz="91822" autoAdjust="0"/>
  </p:normalViewPr>
  <p:slideViewPr>
    <p:cSldViewPr snapToGrid="0">
      <p:cViewPr varScale="1">
        <p:scale>
          <a:sx n="74" d="100"/>
          <a:sy n="74" d="100"/>
        </p:scale>
        <p:origin x="60" y="4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1247643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4/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4/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2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24/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24/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24/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24/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gif"/><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gi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diagramData" Target="../diagrams/data6.xml"/><Relationship Id="rId2" Type="http://schemas.openxmlformats.org/officeDocument/2006/relationships/diagramData" Target="../diagrams/data4.xml"/><Relationship Id="rId16" Type="http://schemas.microsoft.com/office/2007/relationships/diagramDrawing" Target="../diagrams/drawing6.xml"/><Relationship Id="rId1" Type="http://schemas.openxmlformats.org/officeDocument/2006/relationships/slideLayout" Target="../slideLayouts/slideLayout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diagramColors" Target="../diagrams/colors6.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QuickStyle" Target="../diagrams/quickStyle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ideo" Target="https://www.youtube.com/embed/WU0gvPcc3jQ?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ideo" Target="https://www.youtube.com/embed/WU0gvPcc3jQ?feature=oembed" TargetMode="External"/><Relationship Id="rId5" Type="http://schemas.openxmlformats.org/officeDocument/2006/relationships/image" Target="../media/image25.jpeg"/><Relationship Id="rId4" Type="http://schemas.openxmlformats.org/officeDocument/2006/relationships/image" Target="../media/image15.gif"/></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a:ext uri="{909E8E84-426E-40DD-AFC4-6F175D3DCCD1}">
              <a14:hiddenFill xmlns:a14="http://schemas.microsoft.com/office/drawing/2010/main">
                <a:solidFill>
                  <a:srgbClr val="FFFFFF"/>
                </a:solidFill>
              </a14:hiddenFill>
            </a:ext>
          </a:extLst>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02892" y="2053482"/>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spTree>
    <p:extLst>
      <p:ext uri="{BB962C8B-B14F-4D97-AF65-F5344CB8AC3E}">
        <p14:creationId xmlns:p14="http://schemas.microsoft.com/office/powerpoint/2010/main" val="4163194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Animation Support</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387413F9-F812-4C63-81F7-F2DD37923C78}"/>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9FFA5B0C-C4C5-4830-AEFC-F91E7824FEFE}"/>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2ABBE397-BCC6-4672-9F70-AEF587F113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CCCC8BA1-D23E-4848-862A-596908F7D92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4FECF37B-E072-4709-BAFA-CEF12EE44C71}"/>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BF2328A5-4D70-494B-9662-E70ED7BEF91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CE39BF51-144F-485E-90DD-3C5605B62CC6}"/>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CF61ECCE-550E-48AF-A5A1-B778FC33C46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97CC855E-063E-4C48-8A34-1116CB519C4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78D84DDD-273A-407A-820A-AC4CA4FE6FA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AD2F6F24-2677-44DE-B06B-B572686E2535}"/>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F6EB2FC5-5425-4CBF-AEEE-4E664AB2278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58045CD5-C4FB-4369-B338-44610CBA191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75718422-A5DF-442A-9661-A434EE89235A}"/>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8467824F-6870-42B9-9F62-578069E4EECA}"/>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C7E02EA7-3BE7-4963-B905-80F70DBB4FB9}"/>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81B32832-90C7-4972-83A8-F9F1FD26A58A}"/>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BFDA102A-4E84-45A0-9519-5308857A9F57}"/>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3CE8AC43-BFCF-453D-94AA-8A04E17BE04B}"/>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6548D2DD-EA1A-48EA-992B-2BA221A9E04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6D31C2AA-3CA7-4FE1-8492-612A629B047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E726652E-9D35-401E-81E1-187672123813}"/>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C1ABE218-9EF5-4EA9-8180-B8AB558A9C2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29A0FFC5-72AD-454E-A996-7433B39CCC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E43A26FC-0F0B-4332-A44B-9C01E34060C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150DFB89-74A5-411D-9DAF-1473256FFF6E}"/>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F8EDE54A-33DF-4399-9C7F-F133EB6C4A7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D5042304-B965-4B96-BC3B-843F969EEE94}"/>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745A4E91-18F9-4FE6-87CE-E2AAA8DB13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A0754C77-F1AA-4E4B-A2FB-0165E6F7DD8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084141CD-1744-4DD8-99AA-4944C202CFEC}"/>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D441FBFF-851F-471E-9B28-16A5E8F2E2AE}"/>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69152A42-33AD-4582-A01D-DB8298369B28}"/>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76ED3DDE-3706-4AE5-99C7-B2AF905ED9F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811443B6-43A7-48C7-B5A8-9462AC3F9407}"/>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2D435108-361F-472C-A277-6A343E5C2CB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4A2FA3B9-8624-4C6C-87DC-3B0109220A2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07054DF6-96EA-49AA-9D53-54280CDCFCA8}"/>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C93B6C22-380D-4AA1-A1E0-6E72F95B369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32F11B78-2C92-40B0-B6F9-9814BB66FC0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A636C7C7-7B44-4457-81D4-4C0297E520D2}"/>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B85D7109-3F4D-451F-A17A-A10A52E5A2B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BE57F012-CB5D-4CA5-A541-4CFA95924A3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A5BFFB86-ACE9-45B5-AFB0-84355F29B00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A64A7EF9-8279-4BE4-B3D6-1031FE0E29C6}"/>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995EE0E0-52EA-49E4-9CDE-B05351387AF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D206B8D1-6578-471A-AD52-545EAC301E7A}"/>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B3C58FAC-6D85-4006-8B1E-411AABA2086A}"/>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622E4A83-8ACC-4A0E-80C8-3425A6450E4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8EF469D4-98D9-4258-953F-EB2054E18BE7}"/>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A281D2B-D8B6-44D7-B809-4D70DD64F87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DFCEF249-309F-4D6D-83DA-69D4D38BE32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6A1C2866-C3F5-45E1-9C01-AE1C2C18CE6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endParaRPr lang="en-US" dirty="0"/>
          </a:p>
        </p:txBody>
      </p:sp>
      <p:sp>
        <p:nvSpPr>
          <p:cNvPr id="7" name="Google Shape;1714;p63">
            <a:extLst>
              <a:ext uri="{FF2B5EF4-FFF2-40B4-BE49-F238E27FC236}">
                <a16:creationId xmlns:a16="http://schemas.microsoft.com/office/drawing/2014/main" id="{0176D886-4BB9-4882-A3A6-F6C729A5E1BF}"/>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2;p2">
            <a:extLst>
              <a:ext uri="{FF2B5EF4-FFF2-40B4-BE49-F238E27FC236}">
                <a16:creationId xmlns:a16="http://schemas.microsoft.com/office/drawing/2014/main" id="{F9E1AB3B-469D-4352-AFED-F88C8CC7A354}"/>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3C1B9DE2-C884-4DF7-BE61-CC3624A7A169}"/>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3;p69">
            <a:extLst>
              <a:ext uri="{FF2B5EF4-FFF2-40B4-BE49-F238E27FC236}">
                <a16:creationId xmlns:a16="http://schemas.microsoft.com/office/drawing/2014/main" id="{A6568E72-A318-44AC-B2AA-915B63A4D0B7}"/>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E347A485-52C4-4871-A384-BCC81EC44C74}"/>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FED908A5-3935-494C-859E-DA3137DFCF41}"/>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14FF98AE-1648-4061-A957-6B0479099DEA}"/>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E9BF838C-831C-4E48-9704-9F52084D7B4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FB138B46-CBCF-44C5-8FF8-260E09F98AE3}"/>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9" name="Group 68">
            <a:extLst>
              <a:ext uri="{FF2B5EF4-FFF2-40B4-BE49-F238E27FC236}">
                <a16:creationId xmlns:a16="http://schemas.microsoft.com/office/drawing/2014/main" id="{FF1E35AC-AD2B-47CF-8ED5-1084240B140E}"/>
              </a:ext>
            </a:extLst>
          </p:cNvPr>
          <p:cNvGrpSpPr/>
          <p:nvPr/>
        </p:nvGrpSpPr>
        <p:grpSpPr>
          <a:xfrm rot="3514648">
            <a:off x="11287907" y="414264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0" name="Group 69">
              <a:extLst>
                <a:ext uri="{FF2B5EF4-FFF2-40B4-BE49-F238E27FC236}">
                  <a16:creationId xmlns:a16="http://schemas.microsoft.com/office/drawing/2014/main" id="{CFC2C190-3094-4EC8-BC50-7635C416C517}"/>
                </a:ext>
              </a:extLst>
            </p:cNvPr>
            <p:cNvGrpSpPr/>
            <p:nvPr/>
          </p:nvGrpSpPr>
          <p:grpSpPr>
            <a:xfrm>
              <a:off x="5241585" y="4198069"/>
              <a:ext cx="411449" cy="357382"/>
              <a:chOff x="5241585" y="4198069"/>
              <a:chExt cx="411449" cy="357382"/>
            </a:xfrm>
          </p:grpSpPr>
          <p:sp>
            <p:nvSpPr>
              <p:cNvPr id="72" name="Google Shape;658;p48">
                <a:extLst>
                  <a:ext uri="{FF2B5EF4-FFF2-40B4-BE49-F238E27FC236}">
                    <a16:creationId xmlns:a16="http://schemas.microsoft.com/office/drawing/2014/main" id="{0338D407-F416-4C11-9E08-72F98C57EC47}"/>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659;p48">
                <a:extLst>
                  <a:ext uri="{FF2B5EF4-FFF2-40B4-BE49-F238E27FC236}">
                    <a16:creationId xmlns:a16="http://schemas.microsoft.com/office/drawing/2014/main" id="{4A4ED6BF-1600-4D68-9C90-9D0377A18F20}"/>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660;p48">
                <a:extLst>
                  <a:ext uri="{FF2B5EF4-FFF2-40B4-BE49-F238E27FC236}">
                    <a16:creationId xmlns:a16="http://schemas.microsoft.com/office/drawing/2014/main" id="{A3306924-1A96-466F-899A-8C725E1ED43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661;p48">
              <a:extLst>
                <a:ext uri="{FF2B5EF4-FFF2-40B4-BE49-F238E27FC236}">
                  <a16:creationId xmlns:a16="http://schemas.microsoft.com/office/drawing/2014/main" id="{FD3BE009-0B0B-4C9C-9A66-E37EAFDECD73}"/>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90118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7391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7468380"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7468381"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7"/>
          <a:stretch>
            <a:fillRect/>
          </a:stretch>
        </p:blipFill>
        <p:spPr>
          <a:xfrm>
            <a:off x="2382071" y="1822189"/>
            <a:ext cx="7120132" cy="40228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64426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3"/>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7447475" y="6134757"/>
            <a:ext cx="3504677"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1286051941"/>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4119</TotalTime>
  <Words>1052</Words>
  <Application>Microsoft Office PowerPoint</Application>
  <PresentationFormat>Widescreen</PresentationFormat>
  <Paragraphs>247</Paragraphs>
  <Slides>33</Slides>
  <Notes>19</Notes>
  <HiddenSlides>0</HiddenSlides>
  <MMClips>2</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3</vt:i4>
      </vt:variant>
    </vt:vector>
  </HeadingPairs>
  <TitlesOfParts>
    <vt:vector size="43" baseType="lpstr">
      <vt:lpstr>Arial</vt:lpstr>
      <vt:lpstr>Arimo</vt:lpstr>
      <vt:lpstr>Calibri</vt:lpstr>
      <vt:lpstr>charter</vt:lpstr>
      <vt:lpstr>Cinzel</vt:lpstr>
      <vt:lpstr>icomoon</vt:lpstr>
      <vt:lpstr>Saira SemiCondensed ExtraBold</vt:lpstr>
      <vt:lpstr>Sora</vt:lpstr>
      <vt:lpstr>Tw Cen MT</vt:lpstr>
      <vt:lpstr>Circuit</vt:lpstr>
      <vt:lpstr>Advanced Gameplay Mechanics</vt:lpstr>
      <vt:lpstr>Table of contents</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Metaverse concept (3)</vt:lpstr>
      <vt:lpstr>The metaverse is already here — it’s called Fortnite </vt:lpstr>
      <vt:lpstr>Survival Horror (1)</vt:lpstr>
      <vt:lpstr>Metaverse concept (2)</vt:lpstr>
      <vt:lpstr>Survival Horror (3)</vt:lpstr>
      <vt:lpstr>PowerPoint Presentation</vt:lpstr>
      <vt:lpstr>PowerPoint Presentation</vt:lpstr>
      <vt:lpstr>PowerPoint Presentation</vt:lpstr>
      <vt:lpstr>Gameplay mechanics</vt:lpstr>
      <vt:lpstr>PowerPoint Presentation</vt:lpstr>
      <vt:lpstr>PowerPoint Presentation</vt:lpstr>
      <vt:lpstr>Enter Th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344</cp:revision>
  <dcterms:created xsi:type="dcterms:W3CDTF">2021-12-20T17:41:23Z</dcterms:created>
  <dcterms:modified xsi:type="dcterms:W3CDTF">2021-12-24T20:27:42Z</dcterms:modified>
</cp:coreProperties>
</file>